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47.xml" ContentType="application/vnd.openxmlformats-officedocument.presentationml.slide+xml"/>
  <Override PartName="/ppt/tags/tag184.xml" ContentType="application/vnd.openxmlformats-officedocument.presentationml.tags+xml"/>
  <Override PartName="/ppt/tags/tag179.xml" ContentType="application/vnd.openxmlformats-officedocument.presentationml.tags+xml"/>
  <Override PartName="/ppt/tags/tag183.xml" ContentType="application/vnd.openxmlformats-officedocument.presentationml.tags+xml"/>
  <Override PartName="/ppt/tags/tag178.xml" ContentType="application/vnd.openxmlformats-officedocument.presentationml.tags+xml"/>
  <Override PartName="/ppt/tags/tag182.xml" ContentType="application/vnd.openxmlformats-officedocument.presentationml.tags+xml"/>
  <Override PartName="/ppt/notesSlides/notesSlide47.xml" ContentType="application/vnd.openxmlformats-officedocument.presentationml.notesSlide+xml"/>
  <Override PartName="/ppt/tags/tag18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80.xml" ContentType="application/vnd.openxmlformats-officedocument.presentationml.tags+xml"/>
  <Override PartName="/ppt/tags/tag185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3" r:id="rId5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47.xml" Id="rId50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7.xml.rels>&#65279;<?xml version="1.0" encoding="utf-8"?><Relationships xmlns="http://schemas.openxmlformats.org/package/2006/relationships"><Relationship Type="http://schemas.openxmlformats.org/officeDocument/2006/relationships/slide" Target="/ppt/slides/slide47.xml" Id="rId2" /><Relationship Type="http://schemas.openxmlformats.org/officeDocument/2006/relationships/notesMaster" Target="/ppt/notesMasters/notesMaster1.xml" Id="rId1" /></Relationship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46073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7.xml.rels>&#65279;<?xml version="1.0" encoding="utf-8"?><Relationships xmlns="http://schemas.openxmlformats.org/package/2006/relationships"><Relationship Type="http://schemas.openxmlformats.org/officeDocument/2006/relationships/tags" Target="/ppt/tags/tag184.xml" Id="rId8" /><Relationship Type="http://schemas.openxmlformats.org/officeDocument/2006/relationships/image" Target="/ppt/media/image4.emf" Id="rId13" /><Relationship Type="http://schemas.openxmlformats.org/officeDocument/2006/relationships/tags" Target="/ppt/tags/tag179.xml" Id="rId3" /><Relationship Type="http://schemas.openxmlformats.org/officeDocument/2006/relationships/tags" Target="/ppt/tags/tag183.xml" Id="rId7" /><Relationship Type="http://schemas.openxmlformats.org/officeDocument/2006/relationships/oleObject" Target="/ppt/embeddings/oleObject51.bin" Id="rId12" /><Relationship Type="http://schemas.openxmlformats.org/officeDocument/2006/relationships/image" Target="/ppt/media/image79.svg" Id="rId17" /><Relationship Type="http://schemas.openxmlformats.org/officeDocument/2006/relationships/tags" Target="/ppt/tags/tag178.xml" Id="rId2" /><Relationship Type="http://schemas.openxmlformats.org/officeDocument/2006/relationships/image" Target="/ppt/media/image78.png" Id="rId16" /><Relationship Type="http://schemas.openxmlformats.org/officeDocument/2006/relationships/vmlDrawing" Target="/ppt/drawings/vmlDrawing51.vml" Id="rId1" /><Relationship Type="http://schemas.openxmlformats.org/officeDocument/2006/relationships/tags" Target="/ppt/tags/tag182.xml" Id="rId6" /><Relationship Type="http://schemas.openxmlformats.org/officeDocument/2006/relationships/notesSlide" Target="/ppt/notesSlides/notesSlide47.xml" Id="rId11" /><Relationship Type="http://schemas.openxmlformats.org/officeDocument/2006/relationships/tags" Target="/ppt/tags/tag181.xml" Id="rId5" /><Relationship Type="http://schemas.openxmlformats.org/officeDocument/2006/relationships/image" Target="/ppt/media/image30.svg" Id="rId15" /><Relationship Type="http://schemas.openxmlformats.org/officeDocument/2006/relationships/slideLayout" Target="/ppt/slideLayouts/slideLayout5.xml" Id="rId10" /><Relationship Type="http://schemas.openxmlformats.org/officeDocument/2006/relationships/tags" Target="/ppt/tags/tag180.xml" Id="rId4" /><Relationship Type="http://schemas.openxmlformats.org/officeDocument/2006/relationships/tags" Target="/ppt/tags/tag185.xml" Id="rId9" /><Relationship Type="http://schemas.openxmlformats.org/officeDocument/2006/relationships/image" Target="/ppt/media/image29.png" Id="rId14" /></Relationships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41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ommon aspects</a:t>
            </a:r>
            <a:endParaRPr lang="en-US"/>
          </a:p>
        </p:txBody>
      </p:sp>
      <p:sp>
        <p:nvSpPr>
          <p:cNvPr id="2" name="Freihandform: Form 46">
            <a:extLst>
              <a:ext uri="{FF2B5EF4-FFF2-40B4-BE49-F238E27FC236}">
                <a16:creationId xmlns:a16="http://schemas.microsoft.com/office/drawing/2014/main" id="{576610EC-EE66-9380-C19C-56B3927FD4C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615900" y="2423901"/>
            <a:ext cx="1000414" cy="2477991"/>
          </a:xfrm>
          <a:custGeom>
            <a:avLst/>
            <a:gdLst>
              <a:gd name="connsiteX0" fmla="*/ 500380 w 1000414"/>
              <a:gd name="connsiteY0" fmla="*/ 0 h 2477991"/>
              <a:gd name="connsiteX1" fmla="*/ 590993 w 1000414"/>
              <a:gd name="connsiteY1" fmla="*/ 99654 h 2477991"/>
              <a:gd name="connsiteX2" fmla="*/ 1000414 w 1000414"/>
              <a:gd name="connsiteY2" fmla="*/ 1239617 h 2477991"/>
              <a:gd name="connsiteX3" fmla="*/ 590993 w 1000414"/>
              <a:gd name="connsiteY3" fmla="*/ 2378397 h 2477991"/>
              <a:gd name="connsiteX4" fmla="*/ 500380 w 1000414"/>
              <a:gd name="connsiteY4" fmla="*/ 2477991 h 2477991"/>
              <a:gd name="connsiteX5" fmla="*/ 409714 w 1000414"/>
              <a:gd name="connsiteY5" fmla="*/ 2378397 h 2477991"/>
              <a:gd name="connsiteX6" fmla="*/ 0 w 1000414"/>
              <a:gd name="connsiteY6" fmla="*/ 1239617 h 2477991"/>
              <a:gd name="connsiteX7" fmla="*/ 409714 w 1000414"/>
              <a:gd name="connsiteY7" fmla="*/ 99654 h 2477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414" h="2477991">
                <a:moveTo>
                  <a:pt x="500380" y="0"/>
                </a:moveTo>
                <a:lnTo>
                  <a:pt x="590993" y="99654"/>
                </a:lnTo>
                <a:cubicBezTo>
                  <a:pt x="846752" y="409419"/>
                  <a:pt x="1000414" y="806563"/>
                  <a:pt x="1000414" y="1239617"/>
                </a:cubicBezTo>
                <a:cubicBezTo>
                  <a:pt x="1000414" y="1672042"/>
                  <a:pt x="846752" y="2068831"/>
                  <a:pt x="590993" y="2378397"/>
                </a:cubicBezTo>
                <a:lnTo>
                  <a:pt x="500380" y="2477991"/>
                </a:lnTo>
                <a:lnTo>
                  <a:pt x="409714" y="2378397"/>
                </a:lnTo>
                <a:cubicBezTo>
                  <a:pt x="153800" y="2068831"/>
                  <a:pt x="0" y="1672042"/>
                  <a:pt x="0" y="1239617"/>
                </a:cubicBezTo>
                <a:cubicBezTo>
                  <a:pt x="0" y="806563"/>
                  <a:pt x="153800" y="409419"/>
                  <a:pt x="409714" y="996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endParaRPr lang="en-US" sz="2863">
              <a:solidFill>
                <a:prstClr val="black"/>
              </a:solidFill>
            </a:endParaRPr>
          </a:p>
        </p:txBody>
      </p:sp>
      <p:sp>
        <p:nvSpPr>
          <p:cNvPr id="3" name="Freeform 34">
            <a:extLst>
              <a:ext uri="{FF2B5EF4-FFF2-40B4-BE49-F238E27FC236}">
                <a16:creationId xmlns:a16="http://schemas.microsoft.com/office/drawing/2014/main" id="{D044BC63-01E9-A1C4-63FF-4E9E74CAFC4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030305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D4C5C740-C5E3-661C-2E1B-3A8AD148EE1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615900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TextBox 19">
            <a:extLst>
              <a:ext uri="{FF2B5EF4-FFF2-40B4-BE49-F238E27FC236}">
                <a16:creationId xmlns:a16="http://schemas.microsoft.com/office/drawing/2014/main" id="{4D5E35CF-FA58-CF82-7337-77BD0B759BB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23520" y="3925912"/>
            <a:ext cx="2412981" cy="41036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4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7" name="TextBox 20">
            <a:extLst>
              <a:ext uri="{FF2B5EF4-FFF2-40B4-BE49-F238E27FC236}">
                <a16:creationId xmlns:a16="http://schemas.microsoft.com/office/drawing/2014/main" id="{DECF3FC3-260F-5157-83AC-A9CD8EAC784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3520" y="2990033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B90EB082-AAC8-91D5-723F-2EFF1F5F3CF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396432" y="3925912"/>
            <a:ext cx="2412981" cy="41036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4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4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4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46BCB03D-B062-24E9-4CEF-A48173C5A00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396432" y="2990033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algn="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pic>
        <p:nvPicPr>
          <p:cNvPr id="12" name="Grafik 35">
            <a:extLst>
              <a:ext uri="{FF2B5EF4-FFF2-40B4-BE49-F238E27FC236}">
                <a16:creationId xmlns:a16="http://schemas.microsoft.com/office/drawing/2014/main" id="{E47FAB47-5217-CB59-1271-12CED65444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472896" y="3218934"/>
            <a:ext cx="888446" cy="888446"/>
          </a:xfrm>
          <a:prstGeom prst="rect">
            <a:avLst/>
          </a:prstGeom>
        </p:spPr>
      </p:pic>
      <p:pic>
        <p:nvPicPr>
          <p:cNvPr id="13" name="Grafik 36">
            <a:extLst>
              <a:ext uri="{FF2B5EF4-FFF2-40B4-BE49-F238E27FC236}">
                <a16:creationId xmlns:a16="http://schemas.microsoft.com/office/drawing/2014/main" id="{B7D2297F-BFD6-7738-469E-AA6E4F515BC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38240" y="3218934"/>
            <a:ext cx="888446" cy="888446"/>
          </a:xfrm>
          <a:prstGeom prst="rect">
            <a:avLst/>
          </a:prstGeom>
        </p:spPr>
      </p:pic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3A23680-182C-8617-E3A9-37015BBA2D4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7380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 err="1">
                <a:solidFill>
                  <a:schemeClr val="tx2"/>
                </a:solidFill>
              </a:rPr>
              <a:t>venn</a:t>
            </a:r>
            <a:r>
              <a:rPr lang="en-US" sz="1000">
                <a:solidFill>
                  <a:schemeClr val="tx2"/>
                </a:solidFill>
              </a:rPr>
              <a:t> diagram, diagrams, icon, icons</a:t>
            </a:r>
          </a:p>
        </p:txBody>
      </p:sp>
    </p:spTree>
    <p:extLst>
      <p:ext uri="{BB962C8B-B14F-4D97-AF65-F5344CB8AC3E}">
        <p14:creationId xmlns:p14="http://schemas.microsoft.com/office/powerpoint/2010/main" val="330209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